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39" r:id="rId2"/>
    <p:sldId id="330" r:id="rId3"/>
    <p:sldId id="340" r:id="rId4"/>
    <p:sldId id="332" r:id="rId5"/>
    <p:sldId id="334" r:id="rId6"/>
    <p:sldId id="336" r:id="rId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118" d="100"/>
          <a:sy n="118" d="100"/>
        </p:scale>
        <p:origin x="9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4-06-1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9802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06-1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PO Mag- tarmsjukdomar.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>Översiktlig </a:t>
            </a:r>
            <a:r>
              <a:rPr lang="sv-SE" sz="3200" dirty="0">
                <a:solidFill>
                  <a:schemeClr val="bg1"/>
                </a:solidFill>
              </a:rPr>
              <a:t>handlingsplan </a:t>
            </a:r>
            <a:r>
              <a:rPr lang="sv-SE" sz="3200" dirty="0" smtClean="0">
                <a:solidFill>
                  <a:schemeClr val="bg1"/>
                </a:solidFill>
              </a:rPr>
              <a:t>för 2024</a:t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/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: 2023-11-23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91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86905" y="4617129"/>
            <a:ext cx="1163031" cy="295611"/>
            <a:chOff x="9886905" y="4706141"/>
            <a:chExt cx="1163031" cy="295611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86905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  <p:pic>
          <p:nvPicPr>
            <p:cNvPr id="9" name="Bildobjekt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90780" y="4706141"/>
              <a:ext cx="285750" cy="285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1855807"/>
              </p:ext>
            </p:extLst>
          </p:nvPr>
        </p:nvGraphicFramePr>
        <p:xfrm>
          <a:off x="0" y="0"/>
          <a:ext cx="12191999" cy="57454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55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kern="1200" dirty="0" smtClean="0">
                          <a:solidFill>
                            <a:schemeClr val="dk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IBD</a:t>
                      </a:r>
                    </a:p>
                    <a:p>
                      <a:endParaRPr lang="sv-SE" sz="1400" b="1" baseline="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kern="1200" dirty="0" smtClean="0">
                          <a:solidFill>
                            <a:schemeClr val="dk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Öka täckningsgrad och kontinuerlig registrering i SWIBREG -  nationellt register</a:t>
                      </a:r>
                      <a:r>
                        <a:rPr lang="sv-SE" sz="1200" b="1" kern="1200" baseline="0" dirty="0" smtClean="0">
                          <a:solidFill>
                            <a:schemeClr val="dk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 för IBD</a:t>
                      </a:r>
                    </a:p>
                    <a:p>
                      <a:r>
                        <a:rPr lang="sv-SE" sz="1100" b="0" kern="1200" baseline="0" dirty="0" smtClean="0">
                          <a:solidFill>
                            <a:schemeClr val="dk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nr2</a:t>
                      </a:r>
                      <a:endParaRPr lang="sv-SE" sz="1100" b="0" kern="1200" baseline="0" dirty="0">
                        <a:solidFill>
                          <a:schemeClr val="dk1"/>
                        </a:solidFill>
                        <a:latin typeface="Segoe UI Light" panose="020B0502040204020203" pitchFamily="34" charset="0"/>
                        <a:ea typeface="Bryant Regular"/>
                        <a:cs typeface="Segoe UI Light" panose="020B0502040204020203" pitchFamily="34" charset="0"/>
                      </a:endParaRPr>
                    </a:p>
                    <a:p>
                      <a:r>
                        <a:rPr lang="sv-SE" sz="8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</a:t>
                      </a:r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erbjudas diagnostik och behandling och uppföljning enligt bästa kunskap i varje möt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Regelbunden rapportering av täckningsgrad och kvalitetsvariabler halvårsvis med speciell rapport för sjukhusen inom SÖSR. Öka täckningsgrad genom informations- och utbildningsinsatser. Direktöverföring av </a:t>
                      </a:r>
                      <a:r>
                        <a:rPr lang="sv-SE" sz="1100" kern="1200" dirty="0" err="1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ab</a:t>
                      </a:r>
                      <a:r>
                        <a:rPr lang="sv-SE" sz="110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-data och direktinmatning av patienter via 1177. Utveckla programfunktion i SWIBREG för PSVF IBD. Uppgift för RAG IBD att arbeta för ökad registrering inom SÖSR och återrapportering av data.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sv-SE" sz="11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WIBREG-rapport halvårsvis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sv-SE" sz="11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Ökad täckningsgrad i SWIBREG - halvårsvis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sv-SE" sz="11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Direktöverföring </a:t>
                      </a:r>
                      <a:r>
                        <a:rPr lang="sv-SE" sz="1100" dirty="0" err="1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ab</a:t>
                      </a:r>
                      <a:r>
                        <a:rPr lang="sv-SE" sz="11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data – kontinuerlig uppföljning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sv-SE" sz="1100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Nyttja 1177 för registrering – uppföljning via RAG-IBD</a:t>
                      </a:r>
                    </a:p>
                    <a:p>
                      <a:pPr marL="342900" indent="-342900">
                        <a:buAutoNum type="arabicPeriod"/>
                      </a:pPr>
                      <a:endParaRPr lang="sv-SE" sz="11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280">
                <a:tc>
                  <a:txBody>
                    <a:bodyPr/>
                    <a:lstStyle/>
                    <a:p>
                      <a:r>
                        <a:rPr lang="sv-SE" sz="1400" b="1" dirty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B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RAG</a:t>
                      </a:r>
                      <a:r>
                        <a:rPr lang="sv-SE" sz="1200" b="1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IBD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mplementering </a:t>
                      </a: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v nationellt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vårdprogram för IBD-vård 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r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1-6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vård som är lätt tillgänglig för kontakt, bedömning och besök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diagnostik och behandling och uppföljning enligt bästa kunskap i varje möte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vara delaktig och välinformerad genom hela vårdkedjan  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få tillgång till jämlik vård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bästa möjliga hälsofrämjande insatser och välfungerande screeningprogram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få tillgång till patientsäker vård</a:t>
                      </a:r>
                    </a:p>
                    <a:p>
                      <a:r>
                        <a:rPr lang="sv-SE" sz="600" b="0" i="0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Tillsätta RAG IBD (hösten 2022)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Ordförande utsed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mplementering av Nationella vårdprogram för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IBD under våren 2023.</a:t>
                      </a:r>
                      <a:endParaRPr lang="sv-SE" sz="1100" b="0" kern="1200" baseline="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RAG IBD gör en GAP –analys sam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tarbetar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en handlingsplan.</a:t>
                      </a:r>
                      <a:endParaRPr lang="sv-SE" sz="1100" b="0" i="1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ppföljning av implementering och data från kvalitetsregister SWIBREG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evercirros</a:t>
                      </a:r>
                      <a:endParaRPr lang="sv-SE" sz="1400" b="1" i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RAG </a:t>
                      </a: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evercirros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endParaRPr lang="sv-SE" sz="1200" b="1" kern="1200" baseline="0" dirty="0" smtClean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  <a:p>
                      <a:r>
                        <a:rPr lang="sv-SE" sz="1200" b="1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mplementering 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av </a:t>
                      </a:r>
                      <a:r>
                        <a:rPr lang="sv-SE" sz="1200" b="1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ationellt 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vårdprogram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vård som är lätt tillgänglig för kontakt, bedömning och besök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diagnostik och behandling och uppföljning enligt bästa kunskap i varje möte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vara delaktig och välinformerad genom hela vårdkedjan  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få tillgång till jämlik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bästa möjliga hälsofrämjande insatser och välfungerande screeningprogram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få tillgång till patientsäker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*erbjudas 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Tillsätta RAG Levercirros (</a:t>
                      </a: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hösten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2022)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Ordförande utsed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mplementering av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ationellt vårdprogram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för</a:t>
                      </a:r>
                      <a:endParaRPr lang="sv-SE" sz="1100" b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Levercirros under våren 2023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RAG Levercirros gör en GAP –analys sam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tarbetar</a:t>
                      </a:r>
                      <a:r>
                        <a:rPr lang="sv-SE" sz="1100" b="0" i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en handlingsplan.</a:t>
                      </a:r>
                      <a:endParaRPr lang="sv-SE" sz="1100" b="0" i="1" kern="1200" dirty="0" smtClean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ppföljning av implementering och data från kvalitetsregister.</a:t>
                      </a:r>
                      <a:endParaRPr lang="sv-SE" sz="1100" b="0" i="1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Ellips 2">
            <a:extLst>
              <a:ext uri="{FF2B5EF4-FFF2-40B4-BE49-F238E27FC236}">
                <a16:creationId xmlns:a16="http://schemas.microsoft.com/office/drawing/2014/main" id="{1CB07F8A-4D54-4AB2-9710-B0AF39B42B5A}"/>
              </a:ext>
            </a:extLst>
          </p:cNvPr>
          <p:cNvSpPr/>
          <p:nvPr/>
        </p:nvSpPr>
        <p:spPr>
          <a:xfrm>
            <a:off x="11535132" y="1215246"/>
            <a:ext cx="392791" cy="38404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latin typeface="+mj-lt"/>
            </a:endParaRP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4527" y="2845308"/>
            <a:ext cx="254000" cy="266700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4527" y="4421050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45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392469"/>
              </p:ext>
            </p:extLst>
          </p:nvPr>
        </p:nvGraphicFramePr>
        <p:xfrm>
          <a:off x="0" y="0"/>
          <a:ext cx="12191999" cy="537773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55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400" b="1" baseline="0" dirty="0" smtClean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ppendicit</a:t>
                      </a:r>
                      <a:endParaRPr lang="sv-SE" sz="1400" b="1" baseline="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Förbereder för implementering av nationellt</a:t>
                      </a:r>
                      <a:r>
                        <a:rPr lang="sv-SE" sz="1200" b="1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 vårdprogram för appendicit </a:t>
                      </a:r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vård som är lätt tillgänglig för kontakt, bedömning och besök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diagnostik och behandling och uppföljning enligt bästa kunskap i varje möte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vara delaktig och välinformerad genom hela vårdkedjan  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få tillgång till jämlik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bästa möjliga hälsofrämjande insatser och välfungerande screeningprogram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få tillgång till patientsäker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kostnadseffektiv vård</a:t>
                      </a:r>
                      <a:endParaRPr lang="sv-SE" sz="1200" b="0" kern="1200" baseline="0" dirty="0" smtClean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Bryant Regular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ationella vårdprogram utarbetas av NAG</a:t>
                      </a: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appendicit klara hösten 2023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Diskussion om samverkan med RPO Kirurgi och plastikkirurgi vid implementering i SÖS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ppföljning maj 2023 på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1. Återkoppling på remiss våren 2023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2. Beslut om vilket RPO som står för implementering</a:t>
                      </a:r>
                    </a:p>
                    <a:p>
                      <a:pPr marL="342900" indent="-342900">
                        <a:buAutoNum type="arabicPeriod"/>
                      </a:pPr>
                      <a:endParaRPr lang="sv-SE" sz="1100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280">
                <a:tc>
                  <a:txBody>
                    <a:bodyPr/>
                    <a:lstStyle/>
                    <a:p>
                      <a:r>
                        <a:rPr lang="sv-SE" sz="1400" b="1" dirty="0" smtClean="0"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Gallstenssjukdom</a:t>
                      </a:r>
                      <a:endParaRPr lang="sv-SE" sz="1400" b="1" dirty="0"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Förbereder för implementering av nationellt</a:t>
                      </a:r>
                      <a:r>
                        <a:rPr lang="sv-SE" sz="1200" b="1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 vårdprogram för gallstenssjukdom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vård som är lätt tillgänglig för kontakt, bedömning och besök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diagnostik och behandling och uppföljning enligt bästa kunskap i varje möte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vara delaktig och välinformerad genom hela vårdkedjan  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få tillgång till jämlik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bästa möjliga hälsofrämjande insatser och välfungerande screeningprogram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få tillgång till patientsäker vård</a:t>
                      </a: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Bryant Regular"/>
                          <a:cs typeface="Segoe UI Light" panose="020B0502040204020203" pitchFamily="34" charset="0"/>
                        </a:rPr>
                        <a:t>*erbjudas kostnadseffektiv vård</a:t>
                      </a:r>
                      <a:endParaRPr lang="sv-SE" sz="800" b="0" kern="1200" baseline="0" dirty="0" smtClean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Bryant Regular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AG gallstenssjukdom har tagit fram nationellt kliniskt kunskapsstöd för gallstenssjukdoma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Diskussion om samverkan med RPO Kirurgi och plastikkirurgi vid implementering i SÖSR</a:t>
                      </a:r>
                    </a:p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Uppföljning maj 2023 på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1. Återkoppling på remiss våren 2023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 smtClean="0">
                          <a:solidFill>
                            <a:srgbClr val="393939"/>
                          </a:solidFill>
                          <a:effectLst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2. Beslut om vilket RPO som står för implementering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sv-SE" sz="1100" b="0" i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Tarmsvikt</a:t>
                      </a:r>
                      <a:endParaRPr lang="sv-SE" sz="1400" b="1" i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050" b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NAG Tarmsvikt är tillsatt, arbete pågår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2173" y="4741820"/>
            <a:ext cx="285750" cy="28575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5173" y="1407519"/>
            <a:ext cx="254000" cy="266700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659" y="3259276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7</TotalTime>
  <Words>729</Words>
  <Application>Microsoft Office PowerPoint</Application>
  <PresentationFormat>Bredbild</PresentationFormat>
  <Paragraphs>94</Paragraphs>
  <Slides>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4" baseType="lpstr">
      <vt:lpstr>Arial</vt:lpstr>
      <vt:lpstr>Bryant Regular</vt:lpstr>
      <vt:lpstr>Calibri</vt:lpstr>
      <vt:lpstr>Segoe UI Light</vt:lpstr>
      <vt:lpstr>Times New Roman</vt:lpstr>
      <vt:lpstr>Verdana</vt:lpstr>
      <vt:lpstr>1_Office-tema</vt:lpstr>
      <vt:lpstr>think-cell Slide</vt:lpstr>
      <vt:lpstr>RPO Mag- tarmsjukdomar.  Översiktlig handlingsplan för 2024  Uppdaterad: 2023-11-23</vt:lpstr>
      <vt:lpstr>Instruktioner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Andlöw Linda</cp:lastModifiedBy>
  <cp:revision>114</cp:revision>
  <dcterms:created xsi:type="dcterms:W3CDTF">2020-10-30T06:43:58Z</dcterms:created>
  <dcterms:modified xsi:type="dcterms:W3CDTF">2024-06-13T09:08:49Z</dcterms:modified>
</cp:coreProperties>
</file>